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</p:sldMasterIdLst>
  <p:notesMasterIdLst>
    <p:notesMasterId r:id="rId13"/>
  </p:notesMasterIdLst>
  <p:handoutMasterIdLst>
    <p:handoutMasterId r:id="rId14"/>
  </p:handoutMasterIdLst>
  <p:sldIdLst>
    <p:sldId id="256" r:id="rId4"/>
    <p:sldId id="267" r:id="rId5"/>
    <p:sldId id="260" r:id="rId6"/>
    <p:sldId id="261" r:id="rId7"/>
    <p:sldId id="262" r:id="rId8"/>
    <p:sldId id="263" r:id="rId9"/>
    <p:sldId id="266" r:id="rId10"/>
    <p:sldId id="264" r:id="rId11"/>
    <p:sldId id="258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dja Schäffer" initials="NS" lastIdx="1" clrIdx="0">
    <p:extLst>
      <p:ext uri="{19B8F6BF-5375-455C-9EA6-DF929625EA0E}">
        <p15:presenceInfo xmlns:p15="http://schemas.microsoft.com/office/powerpoint/2012/main" userId="Nadja Schäffer" providerId="None"/>
      </p:ext>
    </p:extLst>
  </p:cmAuthor>
  <p:cmAuthor id="2" name="Mader, Michael" initials="MM" lastIdx="2" clrIdx="1">
    <p:extLst>
      <p:ext uri="{19B8F6BF-5375-455C-9EA6-DF929625EA0E}">
        <p15:presenceInfo xmlns:p15="http://schemas.microsoft.com/office/powerpoint/2012/main" userId="S::michael.mader@nobelbiocare.com::173809a8-725e-44bf-9be9-d063fa0852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6A6C"/>
    <a:srgbClr val="B1B3B3"/>
    <a:srgbClr val="BDEFFF"/>
    <a:srgbClr val="BBBEC0"/>
    <a:srgbClr val="B1C9E8"/>
    <a:srgbClr val="FF3399"/>
    <a:srgbClr val="007398"/>
    <a:srgbClr val="7AE1BF"/>
    <a:srgbClr val="FED880"/>
    <a:srgbClr val="FFA3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52" autoAdjust="0"/>
    <p:restoredTop sz="89376" autoAdjust="0"/>
  </p:normalViewPr>
  <p:slideViewPr>
    <p:cSldViewPr snapToGrid="0" showGuides="1">
      <p:cViewPr varScale="1">
        <p:scale>
          <a:sx n="59" d="100"/>
          <a:sy n="59" d="100"/>
        </p:scale>
        <p:origin x="880" y="64"/>
      </p:cViewPr>
      <p:guideLst/>
    </p:cSldViewPr>
  </p:slideViewPr>
  <p:outlineViewPr>
    <p:cViewPr>
      <p:scale>
        <a:sx n="33" d="100"/>
        <a:sy n="33" d="100"/>
      </p:scale>
      <p:origin x="0" y="-58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7" d="100"/>
          <a:sy n="117" d="100"/>
        </p:scale>
        <p:origin x="118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9E0A91-41BB-4851-AE6C-16903B7602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454D53-32CA-4B34-A05F-67B6E3295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914F0-6D72-404F-B47B-9D88B0494081}" type="datetimeFigureOut">
              <a:rPr lang="de-DE" smtClean="0">
                <a:latin typeface="Arial" panose="020B0604020202020204" pitchFamily="34" charset="0"/>
              </a:rPr>
              <a:t>04.05.2023</a:t>
            </a:fld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C8398-A2B3-4D54-BC35-0E80DE4D70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DAB587-FA44-4336-B11E-83E5705ED2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32210-F3C3-4D44-8D5B-288AAEFAE108}" type="slidenum">
              <a:rPr lang="de-DE" smtClean="0">
                <a:latin typeface="Arial" panose="020B0604020202020204" pitchFamily="34" charset="0"/>
              </a:rPr>
              <a:t>‹N›</a:t>
            </a:fld>
            <a:endParaRPr 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232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C26B25D-0D93-4698-BC20-07F10F781801}" type="datetimeFigureOut">
              <a:rPr lang="de-DE" smtClean="0"/>
              <a:pPr/>
              <a:t>04.05.2023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96CE5A7E-662E-4092-92D4-FEFF268D9E3E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2565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09342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/>
              <a:t>Notes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clinician</a:t>
            </a:r>
            <a:r>
              <a:rPr lang="de-CH" dirty="0"/>
              <a:t>: </a:t>
            </a:r>
          </a:p>
          <a:p>
            <a:r>
              <a:rPr lang="de-CH" dirty="0"/>
              <a:t>- </a:t>
            </a:r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pPr marL="171450" indent="-171450">
              <a:buFontTx/>
              <a:buChar char="-"/>
            </a:pPr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pPr marL="0" indent="0">
              <a:buFontTx/>
              <a:buNone/>
            </a:pPr>
            <a:r>
              <a:rPr lang="de-CH" dirty="0"/>
              <a:t>Notes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communication</a:t>
            </a:r>
            <a:r>
              <a:rPr lang="de-CH" dirty="0"/>
              <a:t> </a:t>
            </a:r>
            <a:r>
              <a:rPr lang="de-CH" dirty="0" err="1"/>
              <a:t>manager</a:t>
            </a:r>
            <a:r>
              <a:rPr lang="de-CH" dirty="0"/>
              <a:t>:</a:t>
            </a:r>
          </a:p>
          <a:p>
            <a:pPr marL="0" indent="0">
              <a:buFontTx/>
              <a:buNone/>
            </a:pPr>
            <a:r>
              <a:rPr lang="de-CH" dirty="0"/>
              <a:t>- </a:t>
            </a:r>
            <a:r>
              <a:rPr lang="de-CH" dirty="0" err="1"/>
              <a:t>Please</a:t>
            </a:r>
            <a:r>
              <a:rPr lang="de-CH" dirty="0"/>
              <a:t> </a:t>
            </a:r>
            <a:r>
              <a:rPr lang="de-CH" dirty="0" err="1"/>
              <a:t>adapt</a:t>
            </a:r>
            <a:r>
              <a:rPr lang="de-CH" dirty="0"/>
              <a:t> </a:t>
            </a:r>
            <a:r>
              <a:rPr lang="de-CH" dirty="0" err="1"/>
              <a:t>slides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</a:t>
            </a:r>
            <a:r>
              <a:rPr lang="de-CH" dirty="0" err="1"/>
              <a:t>images</a:t>
            </a:r>
            <a:r>
              <a:rPr lang="de-CH" dirty="0"/>
              <a:t> </a:t>
            </a:r>
            <a:r>
              <a:rPr lang="de-CH" dirty="0" err="1"/>
              <a:t>requested</a:t>
            </a:r>
            <a:r>
              <a:rPr lang="de-CH" dirty="0"/>
              <a:t> </a:t>
            </a:r>
            <a:r>
              <a:rPr lang="de-CH" dirty="0" err="1"/>
              <a:t>according</a:t>
            </a:r>
            <a:r>
              <a:rPr lang="de-CH" dirty="0"/>
              <a:t>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briefing</a:t>
            </a:r>
            <a:r>
              <a:rPr lang="de-CH"/>
              <a:t>.</a:t>
            </a:r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6597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5335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9982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88823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endParaRPr lang="de-CH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937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err="1"/>
              <a:t>Sign</a:t>
            </a:r>
            <a:r>
              <a:rPr lang="de-CH" dirty="0"/>
              <a:t> </a:t>
            </a:r>
            <a:r>
              <a:rPr lang="de-CH" dirty="0" err="1"/>
              <a:t>posts</a:t>
            </a:r>
            <a:r>
              <a:rPr lang="de-CH" dirty="0"/>
              <a:t> will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highlighted</a:t>
            </a:r>
            <a:r>
              <a:rPr lang="de-CH" dirty="0"/>
              <a:t> </a:t>
            </a:r>
            <a:r>
              <a:rPr lang="de-CH" dirty="0" err="1"/>
              <a:t>later</a:t>
            </a:r>
            <a:r>
              <a:rPr lang="de-CH" dirty="0"/>
              <a:t>.</a:t>
            </a:r>
          </a:p>
          <a:p>
            <a:r>
              <a:rPr lang="de-CH" dirty="0" err="1"/>
              <a:t>Captions</a:t>
            </a:r>
            <a:r>
              <a:rPr lang="de-CH" dirty="0"/>
              <a:t> </a:t>
            </a:r>
            <a:r>
              <a:rPr lang="de-CH" dirty="0" err="1"/>
              <a:t>can</a:t>
            </a:r>
            <a:r>
              <a:rPr lang="de-CH" dirty="0"/>
              <a:t> </a:t>
            </a:r>
            <a:r>
              <a:rPr lang="de-CH" dirty="0" err="1"/>
              <a:t>be</a:t>
            </a:r>
            <a:r>
              <a:rPr lang="de-CH" dirty="0"/>
              <a:t> </a:t>
            </a:r>
            <a:r>
              <a:rPr lang="de-CH" dirty="0" err="1"/>
              <a:t>either</a:t>
            </a:r>
            <a:r>
              <a:rPr lang="de-CH" dirty="0"/>
              <a:t> </a:t>
            </a:r>
            <a:r>
              <a:rPr lang="de-CH" dirty="0" err="1"/>
              <a:t>separately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each</a:t>
            </a:r>
            <a:r>
              <a:rPr lang="de-CH" dirty="0"/>
              <a:t> </a:t>
            </a:r>
            <a:r>
              <a:rPr lang="de-CH" dirty="0" err="1"/>
              <a:t>image</a:t>
            </a:r>
            <a:r>
              <a:rPr lang="de-CH" dirty="0"/>
              <a:t> </a:t>
            </a:r>
            <a:r>
              <a:rPr lang="de-CH" dirty="0" err="1"/>
              <a:t>or</a:t>
            </a:r>
            <a:r>
              <a:rPr lang="de-CH" dirty="0"/>
              <a:t> </a:t>
            </a:r>
            <a:r>
              <a:rPr lang="de-CH" dirty="0" err="1"/>
              <a:t>joint</a:t>
            </a:r>
            <a:r>
              <a:rPr lang="de-CH" dirty="0"/>
              <a:t> </a:t>
            </a:r>
            <a:r>
              <a:rPr lang="de-CH" dirty="0" err="1"/>
              <a:t>for</a:t>
            </a:r>
            <a:r>
              <a:rPr lang="de-CH" dirty="0"/>
              <a:t> multiple </a:t>
            </a:r>
            <a:r>
              <a:rPr lang="de-CH" dirty="0" err="1"/>
              <a:t>images</a:t>
            </a:r>
            <a:r>
              <a:rPr lang="de-CH" dirty="0"/>
              <a:t>.</a:t>
            </a:r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6266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4A46052-E325-46D8-BBD2-A073CD439F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54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956" y="1449388"/>
            <a:ext cx="5019558" cy="2778495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CCC030F-DBE1-4813-9B3F-09B0CA021B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85839" y="4359348"/>
            <a:ext cx="5019674" cy="861237"/>
          </a:xfrm>
        </p:spPr>
        <p:txBody>
          <a:bodyPr lIns="0" tIns="0" rIns="0" bIns="0"/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B53A5F85-86DB-4E05-BE27-9775FC908A5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" y="284161"/>
            <a:ext cx="7154515" cy="384178"/>
          </a:xfrm>
        </p:spPr>
        <p:txBody>
          <a:bodyPr anchor="ctr"/>
          <a:lstStyle>
            <a:lvl1pPr>
              <a:defRPr sz="2000" cap="all" baseline="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5E5D1BC-5E6B-4CDB-BCF5-49F7DBB0E2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85838" y="5312144"/>
            <a:ext cx="5019141" cy="754912"/>
          </a:xfrm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Lastname</a:t>
            </a:r>
          </a:p>
          <a:p>
            <a:pPr lvl="1"/>
            <a:r>
              <a:rPr lang="en-US" dirty="0"/>
              <a:t>Title, Clinic, City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F7DE02CA-EA29-4205-819C-C88C6AA4AC4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186489" y="1449388"/>
            <a:ext cx="5395912" cy="46434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ortrait of clinician</a:t>
            </a:r>
          </a:p>
        </p:txBody>
      </p:sp>
    </p:spTree>
    <p:extLst>
      <p:ext uri="{BB962C8B-B14F-4D97-AF65-F5344CB8AC3E}">
        <p14:creationId xmlns:p14="http://schemas.microsoft.com/office/powerpoint/2010/main" val="41721891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4172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E6EC4ADA-A4A1-4DC2-A2CE-5975AF937681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599" y="1828800"/>
            <a:ext cx="26060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5131D8B1-719D-482F-95F7-01C0795FA1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6362" y="1828800"/>
            <a:ext cx="26060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A69510A-1898-4F79-9462-8B5BB38F146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6362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A3485F66-C759-4618-B736-499F1490AE0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90459" y="1828800"/>
            <a:ext cx="2601514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BAD613F2-85F9-43A5-B749-334716F97A5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5060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6C0DFFF4-85AA-4D7E-9B4F-8DC341F9807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80249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36EDD4D0-8F8A-4F02-979D-D4534D084DF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3400029" y="1828800"/>
            <a:ext cx="26060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Menue 1">
            <a:extLst>
              <a:ext uri="{FF2B5EF4-FFF2-40B4-BE49-F238E27FC236}">
                <a16:creationId xmlns:a16="http://schemas.microsoft.com/office/drawing/2014/main" id="{CDDDEF07-461F-4A94-87BA-CB8B401684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1" name="Menue 5">
            <a:extLst>
              <a:ext uri="{FF2B5EF4-FFF2-40B4-BE49-F238E27FC236}">
                <a16:creationId xmlns:a16="http://schemas.microsoft.com/office/drawing/2014/main" id="{8B43319D-7AA7-4BD5-8D05-721C6F66E02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2" name="Menue 4">
            <a:extLst>
              <a:ext uri="{FF2B5EF4-FFF2-40B4-BE49-F238E27FC236}">
                <a16:creationId xmlns:a16="http://schemas.microsoft.com/office/drawing/2014/main" id="{04A78249-DD7B-471D-9996-30626D4A55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33" name="Menue 3">
            <a:extLst>
              <a:ext uri="{FF2B5EF4-FFF2-40B4-BE49-F238E27FC236}">
                <a16:creationId xmlns:a16="http://schemas.microsoft.com/office/drawing/2014/main" id="{63F497CA-0BDE-42D8-ACB2-302338AA61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34" name="Menue 2">
            <a:extLst>
              <a:ext uri="{FF2B5EF4-FFF2-40B4-BE49-F238E27FC236}">
                <a16:creationId xmlns:a16="http://schemas.microsoft.com/office/drawing/2014/main" id="{EEC623B9-7F2E-43E5-8466-CD8957A6A54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DA8AA58-1781-4E8E-9016-33B7BC0CBF12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39" name="Textfeld 18">
              <a:extLst>
                <a:ext uri="{FF2B5EF4-FFF2-40B4-BE49-F238E27FC236}">
                  <a16:creationId xmlns:a16="http://schemas.microsoft.com/office/drawing/2014/main" id="{C39E1F03-9A72-4F83-BCF6-DC16FFC0FA9D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40" name="Picture 39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C2ADC34B-8E72-4710-95E9-20201913F5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E76DA282-F038-4B63-BFEB-EB6A18D43CF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463637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5664" userDrawn="1">
          <p15:clr>
            <a:srgbClr val="FBAE40"/>
          </p15:clr>
        </p15:guide>
        <p15:guide id="2" pos="5544" userDrawn="1">
          <p15:clr>
            <a:srgbClr val="FBAE40"/>
          </p15:clr>
        </p15:guide>
        <p15:guide id="3" pos="2136" userDrawn="1">
          <p15:clr>
            <a:srgbClr val="FBAE40"/>
          </p15:clr>
        </p15:guide>
        <p15:guide id="4" pos="2016" userDrawn="1">
          <p15:clr>
            <a:srgbClr val="FBAE40"/>
          </p15:clr>
        </p15:guide>
        <p15:guide id="5" pos="3900" userDrawn="1">
          <p15:clr>
            <a:srgbClr val="FBAE40"/>
          </p15:clr>
        </p15:guide>
        <p15:guide id="6" pos="3785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748FF4-1847-440D-B4A8-B07068CB1C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59C6CCE-1867-4EDC-8A2C-C9E5FE19F6D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467849"/>
            <a:ext cx="10972800" cy="218586"/>
          </a:xfrm>
        </p:spPr>
        <p:txBody>
          <a:bodyPr>
            <a:sp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66120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90731FCD-CC29-48B3-B1E8-04D67A073FF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0" y="0"/>
            <a:ext cx="12188952" cy="6858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spcBef>
                <a:spcPts val="0"/>
              </a:spcBef>
              <a:defRPr sz="1600">
                <a:solidFill>
                  <a:schemeClr val="bg1"/>
                </a:solidFill>
              </a:defRPr>
            </a:lvl1pPr>
            <a:lvl2pPr>
              <a:spcBef>
                <a:spcPts val="0"/>
              </a:spcBef>
              <a:defRPr sz="16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 </a:t>
            </a:r>
            <a:endParaRPr lang="en-US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46647" y="2497540"/>
            <a:ext cx="4680000" cy="359528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600"/>
            </a:lvl2pPr>
            <a:lvl3pPr>
              <a:lnSpc>
                <a:spcPct val="100000"/>
              </a:lnSpc>
              <a:defRPr sz="1600"/>
            </a:lvl3pPr>
            <a:lvl4pPr>
              <a:lnSpc>
                <a:spcPct val="100000"/>
              </a:lnSpc>
              <a:defRPr sz="1600"/>
            </a:lvl4pPr>
            <a:lvl5pPr>
              <a:lnSpc>
                <a:spcPct val="100000"/>
              </a:lnSpc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Click here to add case report and/or testimonials,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98408F5-A2BD-47A6-9EA3-91BAE7CA2F3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156357" y="1600200"/>
            <a:ext cx="3035644" cy="44926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here to add product renderin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DE9CA1AD-D779-44E6-8763-1883EFC519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99973" y="1777267"/>
            <a:ext cx="1404000" cy="614765"/>
          </a:xfrm>
        </p:spPr>
        <p:txBody>
          <a:bodyPr tIns="36000"/>
          <a:lstStyle>
            <a:lvl1pPr algn="ctr">
              <a:lnSpc>
                <a:spcPct val="100000"/>
              </a:lnSpc>
              <a:spcBef>
                <a:spcPts val="0"/>
              </a:spcBef>
              <a:defRPr>
                <a:solidFill>
                  <a:srgbClr val="BDEFFF"/>
                </a:solidFill>
              </a:defRPr>
            </a:lvl1pPr>
          </a:lstStyle>
          <a:p>
            <a:pPr lvl="0"/>
            <a:r>
              <a:rPr lang="de-DE" dirty="0"/>
              <a:t>Firstname </a:t>
            </a:r>
            <a:r>
              <a:rPr lang="de-DE" dirty="0" err="1"/>
              <a:t>Lastname</a:t>
            </a:r>
            <a:endParaRPr lang="de-DE" dirty="0"/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CA8C5BAF-476A-4CCC-994D-7F1234C02177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99974" y="381600"/>
            <a:ext cx="1403999" cy="14040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770B203-1378-4B3E-8D71-36E1A6214ACF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>
            <a:lvl1pPr>
              <a:defRPr>
                <a:solidFill>
                  <a:srgbClr val="BDEFFF"/>
                </a:solidFill>
              </a:defRPr>
            </a:lvl1pPr>
          </a:lstStyle>
          <a:p>
            <a:fld id="{4DFE947E-F07D-4FBB-A206-A29D93DD7735}" type="datetime1">
              <a:rPr lang="de-DE" smtClean="0"/>
              <a:t>04.05.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EABF2A-891A-417E-BCB5-4859E8E845D0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>
            <a:lvl1pPr>
              <a:defRPr>
                <a:solidFill>
                  <a:srgbClr val="BDEFFF"/>
                </a:solidFill>
              </a:defRPr>
            </a:lvl1pPr>
          </a:lstStyle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27D08E-5558-4BAD-8F24-18C8585E6ECB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>
            <a:lvl1pPr>
              <a:defRPr>
                <a:solidFill>
                  <a:srgbClr val="BDEFFF"/>
                </a:solidFill>
              </a:defRPr>
            </a:lvl1pPr>
          </a:lstStyle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7D651B27-A3F1-4E6A-8E9F-CB26385856C1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609600" y="2497540"/>
            <a:ext cx="3407337" cy="359528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Click here to add patient/treatment description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3302016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967AAED-1A43-4BD0-AF10-B6CDD2FA6A0F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598" y="1828800"/>
            <a:ext cx="10972801" cy="3867912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Menue 1">
            <a:extLst>
              <a:ext uri="{FF2B5EF4-FFF2-40B4-BE49-F238E27FC236}">
                <a16:creationId xmlns:a16="http://schemas.microsoft.com/office/drawing/2014/main" id="{A473E122-6B2D-4889-B516-33A12BC818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8" name="Menue 5">
            <a:extLst>
              <a:ext uri="{FF2B5EF4-FFF2-40B4-BE49-F238E27FC236}">
                <a16:creationId xmlns:a16="http://schemas.microsoft.com/office/drawing/2014/main" id="{E9156145-56CA-4E60-9F26-0C5CC2A5E6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9" name="Menue 4">
            <a:extLst>
              <a:ext uri="{FF2B5EF4-FFF2-40B4-BE49-F238E27FC236}">
                <a16:creationId xmlns:a16="http://schemas.microsoft.com/office/drawing/2014/main" id="{896C84FD-0A3E-4014-BF74-43556C7844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3">
            <a:extLst>
              <a:ext uri="{FF2B5EF4-FFF2-40B4-BE49-F238E27FC236}">
                <a16:creationId xmlns:a16="http://schemas.microsoft.com/office/drawing/2014/main" id="{E2C061B9-FCBA-4E51-9C1D-BC4399AA3EC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1" name="Menue 2">
            <a:extLst>
              <a:ext uri="{FF2B5EF4-FFF2-40B4-BE49-F238E27FC236}">
                <a16:creationId xmlns:a16="http://schemas.microsoft.com/office/drawing/2014/main" id="{AFF1C1D9-48F6-4D30-A585-EF31C9F53C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6435E9C2-138F-4722-8318-7A9A26B92B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788152"/>
            <a:ext cx="10970697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B7F3101-5976-40A9-80EC-E0A14816D5D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817876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98408F5-A2BD-47A6-9EA3-91BAE7CA2F30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0488" y="1828800"/>
            <a:ext cx="5378451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788152"/>
            <a:ext cx="537845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0FEFD1F9-DE55-42FB-A555-7C9AF40A8A43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599" y="1828800"/>
            <a:ext cx="5378451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D0FF2B11-88BB-476D-BD1B-8D86934DD2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0488" y="5788152"/>
            <a:ext cx="538051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127E771-C8FA-4130-8737-CA041160DA2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1" name="Menue 1">
            <a:extLst>
              <a:ext uri="{FF2B5EF4-FFF2-40B4-BE49-F238E27FC236}">
                <a16:creationId xmlns:a16="http://schemas.microsoft.com/office/drawing/2014/main" id="{FFAEC440-1CDA-4B6E-832F-933B5D322B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2" name="Menue 5">
            <a:extLst>
              <a:ext uri="{FF2B5EF4-FFF2-40B4-BE49-F238E27FC236}">
                <a16:creationId xmlns:a16="http://schemas.microsoft.com/office/drawing/2014/main" id="{92109D30-B789-4782-9665-4B89392899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8" name="Menue 4">
            <a:extLst>
              <a:ext uri="{FF2B5EF4-FFF2-40B4-BE49-F238E27FC236}">
                <a16:creationId xmlns:a16="http://schemas.microsoft.com/office/drawing/2014/main" id="{12E1E0D5-EB07-43E2-9462-209576809D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9" name="Menue 3">
            <a:extLst>
              <a:ext uri="{FF2B5EF4-FFF2-40B4-BE49-F238E27FC236}">
                <a16:creationId xmlns:a16="http://schemas.microsoft.com/office/drawing/2014/main" id="{5E591DB2-0B0B-41CB-8FBB-EC2E077620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33" name="Menue 2">
            <a:extLst>
              <a:ext uri="{FF2B5EF4-FFF2-40B4-BE49-F238E27FC236}">
                <a16:creationId xmlns:a16="http://schemas.microsoft.com/office/drawing/2014/main" id="{01909028-9F64-4D98-91B9-E5F937DF49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44931168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600" y="5788152"/>
            <a:ext cx="35204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CFFB62CD-AEAF-4AD7-9A9F-2A1B4BB2C143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" y="1828800"/>
            <a:ext cx="35204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5131D8B1-719D-482F-95F7-01C0795FA1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39100" y="1828800"/>
            <a:ext cx="3541242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A69510A-1898-4F79-9462-8B5BB38F146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061093" y="5788152"/>
            <a:ext cx="3521307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A3485F66-C759-4618-B736-499F1490AE0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335346" y="1828800"/>
            <a:ext cx="3521309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BAD613F2-85F9-43A5-B749-334716F97A5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5347" y="5788152"/>
            <a:ext cx="3521307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Menue 1">
            <a:extLst>
              <a:ext uri="{FF2B5EF4-FFF2-40B4-BE49-F238E27FC236}">
                <a16:creationId xmlns:a16="http://schemas.microsoft.com/office/drawing/2014/main" id="{24B7E893-5187-4466-9E3C-B820D2BF55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9" name="Menue 5">
            <a:extLst>
              <a:ext uri="{FF2B5EF4-FFF2-40B4-BE49-F238E27FC236}">
                <a16:creationId xmlns:a16="http://schemas.microsoft.com/office/drawing/2014/main" id="{88877D96-344C-48DA-B60D-22EF953AA9E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4">
            <a:extLst>
              <a:ext uri="{FF2B5EF4-FFF2-40B4-BE49-F238E27FC236}">
                <a16:creationId xmlns:a16="http://schemas.microsoft.com/office/drawing/2014/main" id="{2CFCDAE5-1162-4E5C-81B8-8DFAF16623B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1" name="Menue 3">
            <a:extLst>
              <a:ext uri="{FF2B5EF4-FFF2-40B4-BE49-F238E27FC236}">
                <a16:creationId xmlns:a16="http://schemas.microsoft.com/office/drawing/2014/main" id="{34C6789D-B6FA-46D0-AF82-51EC8E8F638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2" name="Menue 2">
            <a:extLst>
              <a:ext uri="{FF2B5EF4-FFF2-40B4-BE49-F238E27FC236}">
                <a16:creationId xmlns:a16="http://schemas.microsoft.com/office/drawing/2014/main" id="{CACAD16F-613F-454B-85EF-F0BDADEB5C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F5165370-43CA-4CB2-A85D-D7949050A53D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42" name="Textfeld 18">
              <a:extLst>
                <a:ext uri="{FF2B5EF4-FFF2-40B4-BE49-F238E27FC236}">
                  <a16:creationId xmlns:a16="http://schemas.microsoft.com/office/drawing/2014/main" id="{913B8679-D944-4F56-9759-F86C43736777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43" name="Picture 42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E2937F50-9749-40EB-88ED-7999310412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F3BC6DF8-4489-4286-A47E-0DC79F8039F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77189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4944" userDrawn="1">
          <p15:clr>
            <a:srgbClr val="FBAE40"/>
          </p15:clr>
        </p15:guide>
        <p15:guide id="2" pos="2616" userDrawn="1">
          <p15:clr>
            <a:srgbClr val="FBAE40"/>
          </p15:clr>
        </p15:guide>
        <p15:guide id="3" pos="5064" userDrawn="1">
          <p15:clr>
            <a:srgbClr val="FBAE40"/>
          </p15:clr>
        </p15:guide>
        <p15:guide id="4" pos="27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and 1 one-thir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34C11463-1380-4E9F-863F-A65D58F8134D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5131D8B1-719D-482F-95F7-01C0795FA11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39776" y="1828800"/>
            <a:ext cx="35204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6A69510A-1898-4F79-9462-8B5BB38F146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039100" y="5788152"/>
            <a:ext cx="35204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A3485F66-C759-4618-B736-499F1490AE08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09600" y="1828800"/>
            <a:ext cx="7247055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BAD613F2-85F9-43A5-B749-334716F97A5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09601" y="5788152"/>
            <a:ext cx="7247054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Menue 1">
            <a:extLst>
              <a:ext uri="{FF2B5EF4-FFF2-40B4-BE49-F238E27FC236}">
                <a16:creationId xmlns:a16="http://schemas.microsoft.com/office/drawing/2014/main" id="{5E1B7DC7-12CD-48A3-9C6B-0B83DF21D3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7" name="Menue 5">
            <a:extLst>
              <a:ext uri="{FF2B5EF4-FFF2-40B4-BE49-F238E27FC236}">
                <a16:creationId xmlns:a16="http://schemas.microsoft.com/office/drawing/2014/main" id="{57E43E88-2E1D-48B6-B1A0-027D8115BBF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8" name="Menue 4">
            <a:extLst>
              <a:ext uri="{FF2B5EF4-FFF2-40B4-BE49-F238E27FC236}">
                <a16:creationId xmlns:a16="http://schemas.microsoft.com/office/drawing/2014/main" id="{CF55FBAC-F86B-4D3A-83A9-D71D216E69B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9" name="Menue 3">
            <a:extLst>
              <a:ext uri="{FF2B5EF4-FFF2-40B4-BE49-F238E27FC236}">
                <a16:creationId xmlns:a16="http://schemas.microsoft.com/office/drawing/2014/main" id="{AFA72194-E244-47F9-AB8E-D4CFE90590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2">
            <a:extLst>
              <a:ext uri="{FF2B5EF4-FFF2-40B4-BE49-F238E27FC236}">
                <a16:creationId xmlns:a16="http://schemas.microsoft.com/office/drawing/2014/main" id="{0AEFF24E-92F4-4D25-A2F5-DFA2BD0666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509B73C-0ECB-4F02-BE79-7944B0C22FFF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33" name="Textfeld 18">
              <a:extLst>
                <a:ext uri="{FF2B5EF4-FFF2-40B4-BE49-F238E27FC236}">
                  <a16:creationId xmlns:a16="http://schemas.microsoft.com/office/drawing/2014/main" id="{9AD5C23B-3506-430F-9DE0-38C2E940EAE8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34" name="Picture 33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A63F4F80-42FF-4D7A-80FB-13280F5C1B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0C69B79-59E2-49AD-8370-E385CAAF2DB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8476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4944" userDrawn="1">
          <p15:clr>
            <a:srgbClr val="FBAE40"/>
          </p15:clr>
        </p15:guide>
        <p15:guide id="2" pos="506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and 1 quart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599" y="5788152"/>
            <a:ext cx="818388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D14E72A8-CBE8-4206-986F-19502A9BD9BB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599" y="1828800"/>
            <a:ext cx="8183880" cy="3867912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C9CC7C26-0CD7-47AF-A349-F7969D8974F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9408" y="1828800"/>
            <a:ext cx="26060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D710939-1CFB-45D9-8582-171FD087432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9408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Menue 1">
            <a:extLst>
              <a:ext uri="{FF2B5EF4-FFF2-40B4-BE49-F238E27FC236}">
                <a16:creationId xmlns:a16="http://schemas.microsoft.com/office/drawing/2014/main" id="{C0B99F04-F963-4506-949F-3405FC3BF5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7" name="Menue 5">
            <a:extLst>
              <a:ext uri="{FF2B5EF4-FFF2-40B4-BE49-F238E27FC236}">
                <a16:creationId xmlns:a16="http://schemas.microsoft.com/office/drawing/2014/main" id="{007846F0-5CCD-4C1A-9AF4-5A2419E842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8" name="Menue 4">
            <a:extLst>
              <a:ext uri="{FF2B5EF4-FFF2-40B4-BE49-F238E27FC236}">
                <a16:creationId xmlns:a16="http://schemas.microsoft.com/office/drawing/2014/main" id="{BC96F744-F564-432A-84A3-915BEA476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9" name="Menue 3">
            <a:extLst>
              <a:ext uri="{FF2B5EF4-FFF2-40B4-BE49-F238E27FC236}">
                <a16:creationId xmlns:a16="http://schemas.microsoft.com/office/drawing/2014/main" id="{B4781EA3-8583-4120-AB3E-A71859B8FA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2">
            <a:extLst>
              <a:ext uri="{FF2B5EF4-FFF2-40B4-BE49-F238E27FC236}">
                <a16:creationId xmlns:a16="http://schemas.microsoft.com/office/drawing/2014/main" id="{C2F323EE-712F-4C82-81FB-2E4EA76B27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54001E3-B198-4485-8EF9-2B5EB8CF6E78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32" name="Textfeld 18">
              <a:extLst>
                <a:ext uri="{FF2B5EF4-FFF2-40B4-BE49-F238E27FC236}">
                  <a16:creationId xmlns:a16="http://schemas.microsoft.com/office/drawing/2014/main" id="{229A4CBD-D250-4623-AFD1-93A751A850A6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33" name="Picture 32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123DB8B2-0B03-41B0-A61A-191EE256A6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F389453-9DED-4BCD-B40D-CA3300FD93D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75410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5664" userDrawn="1">
          <p15:clr>
            <a:srgbClr val="FBAE40"/>
          </p15:clr>
        </p15:guide>
        <p15:guide id="2" pos="554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and 2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98519" y="5788152"/>
            <a:ext cx="818388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D14E72A8-CBE8-4206-986F-19502A9BD9BB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6" name="Picture Placeholder 8">
            <a:extLst>
              <a:ext uri="{FF2B5EF4-FFF2-40B4-BE49-F238E27FC236}">
                <a16:creationId xmlns:a16="http://schemas.microsoft.com/office/drawing/2014/main" id="{3366EC80-18EB-487E-B777-DADFE5C656C4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3398519" y="1828800"/>
            <a:ext cx="8183880" cy="3867912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C9CC7C26-0CD7-47AF-A349-F7969D8974F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" y="1828800"/>
            <a:ext cx="2606040" cy="18379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3D710939-1CFB-45D9-8582-171FD087432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09600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Menue 1">
            <a:extLst>
              <a:ext uri="{FF2B5EF4-FFF2-40B4-BE49-F238E27FC236}">
                <a16:creationId xmlns:a16="http://schemas.microsoft.com/office/drawing/2014/main" id="{C0B99F04-F963-4506-949F-3405FC3BF54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7" name="Menue 5">
            <a:extLst>
              <a:ext uri="{FF2B5EF4-FFF2-40B4-BE49-F238E27FC236}">
                <a16:creationId xmlns:a16="http://schemas.microsoft.com/office/drawing/2014/main" id="{007846F0-5CCD-4C1A-9AF4-5A2419E842C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8" name="Menue 4">
            <a:extLst>
              <a:ext uri="{FF2B5EF4-FFF2-40B4-BE49-F238E27FC236}">
                <a16:creationId xmlns:a16="http://schemas.microsoft.com/office/drawing/2014/main" id="{BC96F744-F564-432A-84A3-915BEA476C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19" name="Menue 3">
            <a:extLst>
              <a:ext uri="{FF2B5EF4-FFF2-40B4-BE49-F238E27FC236}">
                <a16:creationId xmlns:a16="http://schemas.microsoft.com/office/drawing/2014/main" id="{B4781EA3-8583-4120-AB3E-A71859B8FAC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2">
            <a:extLst>
              <a:ext uri="{FF2B5EF4-FFF2-40B4-BE49-F238E27FC236}">
                <a16:creationId xmlns:a16="http://schemas.microsoft.com/office/drawing/2014/main" id="{C2F323EE-712F-4C82-81FB-2E4EA76B27F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54001E3-B198-4485-8EF9-2B5EB8CF6E78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32" name="Textfeld 18">
              <a:extLst>
                <a:ext uri="{FF2B5EF4-FFF2-40B4-BE49-F238E27FC236}">
                  <a16:creationId xmlns:a16="http://schemas.microsoft.com/office/drawing/2014/main" id="{229A4CBD-D250-4623-AFD1-93A751A850A6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33" name="Picture 32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123DB8B2-0B03-41B0-A61A-191EE256A6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BF5065F2-77AD-4CB0-AD8F-171F7F2B37B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09600" y="3858768"/>
            <a:ext cx="2606040" cy="18379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F2075B83-9DBD-414B-AB76-E65F5BCE014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6199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136" userDrawn="1">
          <p15:clr>
            <a:srgbClr val="FBAE40"/>
          </p15:clr>
        </p15:guide>
        <p15:guide id="2" pos="201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half and 2 quarte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197D835-FE12-42CE-BB31-707C8D5307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599" y="5788152"/>
            <a:ext cx="5385816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3" name="Date Placeholder 22">
            <a:extLst>
              <a:ext uri="{FF2B5EF4-FFF2-40B4-BE49-F238E27FC236}">
                <a16:creationId xmlns:a16="http://schemas.microsoft.com/office/drawing/2014/main" id="{CC74C9F9-6DB5-4119-82EE-986B3D51C4C9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7B2A4CC8-F63E-46C7-9D62-CDE578418DF9}" type="datetime1">
              <a:rPr lang="de-DE" noProof="0" smtClean="0"/>
              <a:t>04.05.2023</a:t>
            </a:fld>
            <a:endParaRPr lang="en-US" noProof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509B38D9-7997-4F3B-9BA0-D57B796876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3158AE08-5937-4F2E-B783-D0A25C2B25C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766FED3F-97FF-47B8-9C8E-CB41D4D1EAE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76362" y="1828800"/>
            <a:ext cx="2606040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7" name="Text Placeholder 14">
            <a:extLst>
              <a:ext uri="{FF2B5EF4-FFF2-40B4-BE49-F238E27FC236}">
                <a16:creationId xmlns:a16="http://schemas.microsoft.com/office/drawing/2014/main" id="{99FA04B8-0273-4397-B0C8-5EF627C145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6362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38" name="Picture Placeholder 8">
            <a:extLst>
              <a:ext uri="{FF2B5EF4-FFF2-40B4-BE49-F238E27FC236}">
                <a16:creationId xmlns:a16="http://schemas.microsoft.com/office/drawing/2014/main" id="{43AA422D-F4C9-426F-BABA-D271D6242B3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190488" y="1828800"/>
            <a:ext cx="2601514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9" name="Text Placeholder 14">
            <a:extLst>
              <a:ext uri="{FF2B5EF4-FFF2-40B4-BE49-F238E27FC236}">
                <a16:creationId xmlns:a16="http://schemas.microsoft.com/office/drawing/2014/main" id="{02E8BCD5-20C3-4894-8A65-0F5C9C8ADCB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90488" y="5788152"/>
            <a:ext cx="260604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2pPr>
            <a:lvl3pPr marL="9144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3pPr>
            <a:lvl4pPr marL="18288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4pPr>
            <a:lvl5pPr marL="274320" indent="-91440">
              <a:lnSpc>
                <a:spcPct val="100000"/>
              </a:lnSpc>
              <a:spcBef>
                <a:spcPts val="0"/>
              </a:spcBef>
              <a:defRPr sz="1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A48406E7-C77E-4054-8FB9-A75E553C43C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608400" y="1828800"/>
            <a:ext cx="5385816" cy="386791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Menue 1">
            <a:extLst>
              <a:ext uri="{FF2B5EF4-FFF2-40B4-BE49-F238E27FC236}">
                <a16:creationId xmlns:a16="http://schemas.microsoft.com/office/drawing/2014/main" id="{50BF2A41-2A1E-4E4E-93B2-918D2B2B21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165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0" name="Menue 5">
            <a:extLst>
              <a:ext uri="{FF2B5EF4-FFF2-40B4-BE49-F238E27FC236}">
                <a16:creationId xmlns:a16="http://schemas.microsoft.com/office/drawing/2014/main" id="{42128B2F-2C72-45CD-AF2D-0F9BF23AAA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70719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1" name="Menue 4">
            <a:extLst>
              <a:ext uri="{FF2B5EF4-FFF2-40B4-BE49-F238E27FC236}">
                <a16:creationId xmlns:a16="http://schemas.microsoft.com/office/drawing/2014/main" id="{6C5BE117-3BF4-441B-9490-CA87FACB2F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3095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2" name="Menue 3">
            <a:extLst>
              <a:ext uri="{FF2B5EF4-FFF2-40B4-BE49-F238E27FC236}">
                <a16:creationId xmlns:a16="http://schemas.microsoft.com/office/drawing/2014/main" id="{FA718AEA-6702-4716-A838-CA076043253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91188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sp>
        <p:nvSpPr>
          <p:cNvPr id="26" name="Menue 2">
            <a:extLst>
              <a:ext uri="{FF2B5EF4-FFF2-40B4-BE49-F238E27FC236}">
                <a16:creationId xmlns:a16="http://schemas.microsoft.com/office/drawing/2014/main" id="{74E28511-D62A-46CA-A1C3-6A6DDCC2AEB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1423" y="379884"/>
            <a:ext cx="2011680" cy="914400"/>
          </a:xfrm>
        </p:spPr>
        <p:txBody>
          <a:bodyPr wrap="square"/>
          <a:lstStyle>
            <a:lvl1pPr>
              <a:lnSpc>
                <a:spcPct val="100000"/>
              </a:lnSpc>
              <a:spcBef>
                <a:spcPts val="600"/>
              </a:spcBef>
              <a:defRPr lang="en-US" sz="1600" b="1" kern="1200" cap="none" spc="0" baseline="0" dirty="0">
                <a:solidFill>
                  <a:schemeClr val="accent3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lang="en-US" sz="1600" b="1" kern="1200" spc="0" baseline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None/>
              <a:defRPr lang="en-US" sz="1600" b="1" kern="1200" spc="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Click to edit Sectio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</a:pPr>
            <a:r>
              <a:rPr lang="en-US" dirty="0"/>
              <a:t>Second level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112BB12-2F6B-4FDB-9911-CF5A675B3509}"/>
              </a:ext>
            </a:extLst>
          </p:cNvPr>
          <p:cNvGrpSpPr/>
          <p:nvPr userDrawn="1"/>
        </p:nvGrpSpPr>
        <p:grpSpPr>
          <a:xfrm>
            <a:off x="626240" y="-710773"/>
            <a:ext cx="4684286" cy="553998"/>
            <a:chOff x="626240" y="-710773"/>
            <a:chExt cx="4684286" cy="553998"/>
          </a:xfrm>
        </p:grpSpPr>
        <p:sp>
          <p:nvSpPr>
            <p:cNvPr id="32" name="Textfeld 18">
              <a:extLst>
                <a:ext uri="{FF2B5EF4-FFF2-40B4-BE49-F238E27FC236}">
                  <a16:creationId xmlns:a16="http://schemas.microsoft.com/office/drawing/2014/main" id="{FF20647B-49FA-4B39-BCCE-C822AFB132C3}"/>
                </a:ext>
              </a:extLst>
            </p:cNvPr>
            <p:cNvSpPr txBox="1"/>
            <p:nvPr userDrawn="1"/>
          </p:nvSpPr>
          <p:spPr>
            <a:xfrm>
              <a:off x="626240" y="-710773"/>
              <a:ext cx="399419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en-US" dirty="0">
                  <a:solidFill>
                    <a:srgbClr val="E03E52"/>
                  </a:solidFill>
                </a:rPr>
                <a:t>Please use this buttons to increase </a:t>
              </a:r>
              <a:br>
                <a:rPr lang="en-US" dirty="0">
                  <a:solidFill>
                    <a:srgbClr val="E03E52"/>
                  </a:solidFill>
                </a:rPr>
              </a:br>
              <a:r>
                <a:rPr lang="en-US" dirty="0">
                  <a:solidFill>
                    <a:srgbClr val="E03E52"/>
                  </a:solidFill>
                </a:rPr>
                <a:t>or decrease the text level of the menu</a:t>
              </a:r>
              <a:endParaRPr lang="de-DE" dirty="0">
                <a:solidFill>
                  <a:srgbClr val="E03E52"/>
                </a:solidFill>
              </a:endParaRPr>
            </a:p>
          </p:txBody>
        </p:sp>
        <p:pic>
          <p:nvPicPr>
            <p:cNvPr id="33" name="Picture 32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D00F9642-E49A-445C-B6AC-B7E61B73C5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0861" y="-645050"/>
              <a:ext cx="739665" cy="452018"/>
            </a:xfrm>
            <a:prstGeom prst="rect">
              <a:avLst/>
            </a:prstGeom>
          </p:spPr>
        </p:pic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60ED9BE-5E48-4D63-963F-8CFB5AA71C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658" y="1345642"/>
            <a:ext cx="10956160" cy="431800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r>
              <a:rPr lang="en-US" dirty="0" err="1"/>
              <a:t>Sub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87857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5664" userDrawn="1">
          <p15:clr>
            <a:srgbClr val="FBAE40"/>
          </p15:clr>
        </p15:guide>
        <p15:guide id="2" pos="55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1372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0" imgH="429" progId="TCLayout.ActiveDocument.1">
                  <p:embed/>
                </p:oleObj>
              </mc:Choice>
              <mc:Fallback>
                <p:oleObj name="think-cell Slide" r:id="rId15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43399" y="1600200"/>
            <a:ext cx="7239001" cy="44926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" y="6620853"/>
            <a:ext cx="694899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fld id="{B01E6268-C44B-470C-8105-EA9D28DF8D6D}" type="datetime1">
              <a:rPr lang="de-DE" smtClean="0"/>
              <a:t>04.05.2023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620853"/>
            <a:ext cx="5486400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ase courtesy of Name, Firstnam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9860" y="6620853"/>
            <a:ext cx="444771" cy="13716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accent3"/>
                </a:solidFill>
              </a:defRPr>
            </a:lvl1pPr>
          </a:lstStyle>
          <a:p>
            <a:fld id="{48BAED25-F67B-4389-AF81-088E5999745F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50" r:id="rId2"/>
    <p:sldLayoutId id="2147483694" r:id="rId3"/>
    <p:sldLayoutId id="2147483695" r:id="rId4"/>
    <p:sldLayoutId id="2147483697" r:id="rId5"/>
    <p:sldLayoutId id="2147483701" r:id="rId6"/>
    <p:sldLayoutId id="2147483700" r:id="rId7"/>
    <p:sldLayoutId id="2147483702" r:id="rId8"/>
    <p:sldLayoutId id="2147483696" r:id="rId9"/>
    <p:sldLayoutId id="2147483699" r:id="rId10"/>
    <p:sldLayoutId id="2147483698" r:id="rId11"/>
  </p:sldLayoutIdLst>
  <p:transition spd="slow">
    <p:wipe/>
  </p:transition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400" b="1" kern="1200" cap="none" spc="0" baseline="0">
          <a:solidFill>
            <a:schemeClr val="accent3">
              <a:lumMod val="75000"/>
            </a:schemeClr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400" kern="1200" spc="0" baseline="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4" pos="3783" userDrawn="1">
          <p15:clr>
            <a:srgbClr val="F26B43"/>
          </p15:clr>
        </p15:guide>
        <p15:guide id="5" pos="3900" userDrawn="1">
          <p15:clr>
            <a:srgbClr val="F26B43"/>
          </p15:clr>
        </p15:guide>
        <p15:guide id="6" orient="horz" pos="823" userDrawn="1">
          <p15:clr>
            <a:srgbClr val="F26B43"/>
          </p15:clr>
        </p15:guide>
        <p15:guide id="7" orient="horz" pos="240" userDrawn="1">
          <p15:clr>
            <a:srgbClr val="F26B43"/>
          </p15:clr>
        </p15:guide>
        <p15:guide id="8" orient="horz" pos="1152" userDrawn="1">
          <p15:clr>
            <a:srgbClr val="F26B43"/>
          </p15:clr>
        </p15:guide>
        <p15:guide id="15" orient="horz" pos="3584" userDrawn="1">
          <p15:clr>
            <a:srgbClr val="F26B43"/>
          </p15:clr>
        </p15:guide>
        <p15:guide id="16" orient="horz" pos="3838" userDrawn="1">
          <p15:clr>
            <a:srgbClr val="F26B43"/>
          </p15:clr>
        </p15:guide>
        <p15:guide id="19" pos="72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2" descr="Female Profile">
            <a:extLst>
              <a:ext uri="{FF2B5EF4-FFF2-40B4-BE49-F238E27FC236}">
                <a16:creationId xmlns:a16="http://schemas.microsoft.com/office/drawing/2014/main" id="{B5759583-8CE7-4A95-8F95-1AABD61667C0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6973" b="6973"/>
          <a:stretch>
            <a:fillRect/>
          </a:stretch>
        </p:blipFill>
        <p:spPr>
          <a:xfrm>
            <a:off x="6186488" y="1449388"/>
            <a:ext cx="5395912" cy="464343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21D118B-EA23-44D7-898A-D8990174EE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d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599AB3-7E8D-49A2-AF40-CC98F78C75F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Sub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7A6167-A3C1-4B73-8126-0CB4D122C2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CLINICAL CA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8DF739F-B510-4377-BD88-ABD93C6051F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Firstname Lastname</a:t>
            </a:r>
          </a:p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1556B6D-D51D-4ADA-B010-7EDDCFC956EF}"/>
              </a:ext>
            </a:extLst>
          </p:cNvPr>
          <p:cNvSpPr txBox="1"/>
          <p:nvPr/>
        </p:nvSpPr>
        <p:spPr>
          <a:xfrm>
            <a:off x="7509708" y="4665813"/>
            <a:ext cx="27494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Placeholder</a:t>
            </a:r>
          </a:p>
          <a:p>
            <a:pPr algn="ctr"/>
            <a:r>
              <a:rPr lang="en-US" b="1" dirty="0">
                <a:solidFill>
                  <a:schemeClr val="bg2"/>
                </a:solidFill>
              </a:rPr>
              <a:t>High resolution portrait</a:t>
            </a:r>
          </a:p>
        </p:txBody>
      </p:sp>
    </p:spTree>
    <p:extLst>
      <p:ext uri="{BB962C8B-B14F-4D97-AF65-F5344CB8AC3E}">
        <p14:creationId xmlns:p14="http://schemas.microsoft.com/office/powerpoint/2010/main" val="4231769232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88CD00-73CC-44CB-8CD5-046E60D618C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F84066DD-5105-436E-B0F8-289F3AF1DC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: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r>
              <a:rPr lang="en-US" dirty="0"/>
              <a:t> et </a:t>
            </a:r>
            <a:r>
              <a:rPr lang="en-US" dirty="0" err="1"/>
              <a:t>magnis</a:t>
            </a:r>
            <a:r>
              <a:rPr lang="en-US" dirty="0"/>
              <a:t> dis parturient </a:t>
            </a:r>
            <a:r>
              <a:rPr lang="en-US" dirty="0" err="1"/>
              <a:t>montes</a:t>
            </a:r>
            <a:r>
              <a:rPr lang="en-US" dirty="0"/>
              <a:t>, </a:t>
            </a:r>
            <a:r>
              <a:rPr lang="en-US" dirty="0" err="1"/>
              <a:t>nascetur</a:t>
            </a:r>
            <a:r>
              <a:rPr lang="en-US" dirty="0"/>
              <a:t> </a:t>
            </a:r>
            <a:r>
              <a:rPr lang="en-US" dirty="0" err="1"/>
              <a:t>ridiculus</a:t>
            </a:r>
            <a:r>
              <a:rPr lang="en-US" dirty="0"/>
              <a:t> mus. </a:t>
            </a:r>
          </a:p>
          <a:p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quam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, </a:t>
            </a:r>
            <a:r>
              <a:rPr lang="en-US" dirty="0" err="1"/>
              <a:t>ultricie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, </a:t>
            </a:r>
            <a:r>
              <a:rPr lang="en-US" dirty="0" err="1"/>
              <a:t>pellentesque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, </a:t>
            </a:r>
            <a:r>
              <a:rPr lang="en-US" dirty="0" err="1"/>
              <a:t>pretium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, sem. </a:t>
            </a:r>
          </a:p>
          <a:p>
            <a:endParaRPr lang="en-US" dirty="0"/>
          </a:p>
        </p:txBody>
      </p:sp>
      <p:pic>
        <p:nvPicPr>
          <p:cNvPr id="32" name="Picture Placeholder 9">
            <a:extLst>
              <a:ext uri="{FF2B5EF4-FFF2-40B4-BE49-F238E27FC236}">
                <a16:creationId xmlns:a16="http://schemas.microsoft.com/office/drawing/2014/main" id="{62C4F152-ED1E-433F-A597-E421CD29923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t="9880" b="9880"/>
          <a:stretch>
            <a:fillRect/>
          </a:stretch>
        </p:blipFill>
        <p:spPr/>
      </p:pic>
      <p:sp>
        <p:nvSpPr>
          <p:cNvPr id="65" name="Textplatzhalter 64">
            <a:extLst>
              <a:ext uri="{FF2B5EF4-FFF2-40B4-BE49-F238E27FC236}">
                <a16:creationId xmlns:a16="http://schemas.microsoft.com/office/drawing/2014/main" id="{BE794B11-726A-4AFE-BBF0-84D0AC0175F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  <a:p>
            <a:endParaRPr lang="en-US" dirty="0"/>
          </a:p>
        </p:txBody>
      </p:sp>
      <p:sp>
        <p:nvSpPr>
          <p:cNvPr id="66" name="Textplatzhalter 65">
            <a:extLst>
              <a:ext uri="{FF2B5EF4-FFF2-40B4-BE49-F238E27FC236}">
                <a16:creationId xmlns:a16="http://schemas.microsoft.com/office/drawing/2014/main" id="{5F7251BF-98CC-4B22-9C50-70698A6BB66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0174224" y="381600"/>
            <a:ext cx="1408176" cy="466344"/>
          </a:xfrm>
        </p:spPr>
        <p:txBody>
          <a:bodyPr/>
          <a:lstStyle/>
          <a:p>
            <a:endParaRPr lang="en-US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1C734D08-6814-408D-BA5B-A41C2A01D25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Case courtesy of Firstname Lastname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2D52D99-710C-4103-AA27-BB7285E17635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64" name="Inhaltsplatzhalter 63">
            <a:extLst>
              <a:ext uri="{FF2B5EF4-FFF2-40B4-BE49-F238E27FC236}">
                <a16:creationId xmlns:a16="http://schemas.microsoft.com/office/drawing/2014/main" id="{23A0C968-7B2A-4A6D-BB4E-FA827589D6C5}"/>
              </a:ext>
            </a:extLst>
          </p:cNvPr>
          <p:cNvGraphicFramePr>
            <a:graphicFrameLocks noGrp="1"/>
          </p:cNvGraphicFramePr>
          <p:nvPr>
            <p:ph idx="35"/>
            <p:extLst>
              <p:ext uri="{D42A27DB-BD31-4B8C-83A1-F6EECF244321}">
                <p14:modId xmlns:p14="http://schemas.microsoft.com/office/powerpoint/2010/main" val="1647853050"/>
              </p:ext>
            </p:extLst>
          </p:nvPr>
        </p:nvGraphicFramePr>
        <p:xfrm>
          <a:off x="609600" y="2497540"/>
          <a:ext cx="2952750" cy="416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2750">
                  <a:extLst>
                    <a:ext uri="{9D8B030D-6E8A-4147-A177-3AD203B41FA5}">
                      <a16:colId xmlns:a16="http://schemas.microsoft.com/office/drawing/2014/main" val="3789775528"/>
                    </a:ext>
                  </a:extLst>
                </a:gridCol>
              </a:tblGrid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Patient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988997867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years,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fe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)male,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xxxx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3834866411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Clinical situation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3157788041"/>
                  </a:ext>
                </a:extLst>
              </a:tr>
              <a:tr h="379340">
                <a:tc>
                  <a:txBody>
                    <a:bodyPr/>
                    <a:lstStyle/>
                    <a:p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consectetue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dipiscing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li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 sed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iusmod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tempo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incidun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u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labore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et dolore magna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liqua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 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1691463470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urgical solution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2966680084"/>
                  </a:ext>
                </a:extLst>
              </a:tr>
              <a:tr h="3793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consectetue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dipiscing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li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 sed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iusmod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tempo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incidun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u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labore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et dolore magna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liqua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 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905308259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Restorative solution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4259857310"/>
                  </a:ext>
                </a:extLst>
              </a:tr>
              <a:tr h="3793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consectetue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dipiscing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li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 sed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eiusmod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tempor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incidun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ut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labore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et dolore magna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aliqua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. 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1527703234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Surgery date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477319439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Month XX, 20XX.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1520889954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otal treatment time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1834547321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xx years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</a:rPr>
                        <a:t>yy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 months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350841436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Tooth position</a:t>
                      </a: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533011570"/>
                  </a:ext>
                </a:extLst>
              </a:tr>
              <a:tr h="142019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bg1"/>
                          </a:solidFill>
                        </a:rPr>
                        <a:t>XX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18000" marB="18000"/>
                </a:tc>
                <a:extLst>
                  <a:ext uri="{0D108BD9-81ED-4DB2-BD59-A6C34878D82A}">
                    <a16:rowId xmlns:a16="http://schemas.microsoft.com/office/drawing/2014/main" val="3014080518"/>
                  </a:ext>
                </a:extLst>
              </a:tr>
            </a:tbl>
          </a:graphicData>
        </a:graphic>
      </p:graphicFrame>
      <p:pic>
        <p:nvPicPr>
          <p:cNvPr id="75" name="Bildplatzhalter 74">
            <a:extLst>
              <a:ext uri="{FF2B5EF4-FFF2-40B4-BE49-F238E27FC236}">
                <a16:creationId xmlns:a16="http://schemas.microsoft.com/office/drawing/2014/main" id="{1C793116-2CEE-4B33-A349-8CFBB0D5C243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" r="5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2567591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Placeholder 2">
            <a:extLst>
              <a:ext uri="{FF2B5EF4-FFF2-40B4-BE49-F238E27FC236}">
                <a16:creationId xmlns:a16="http://schemas.microsoft.com/office/drawing/2014/main" id="{8C72369C-4154-4767-AA0D-128ACC8AEB47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13548" r="13548"/>
          <a:stretch>
            <a:fillRect/>
          </a:stretch>
        </p:blipFill>
        <p:spPr/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554A426-E709-49AC-A918-D27915351A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91AA23F9-A821-409C-AB84-599F11A7270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F881A05-1E6C-436B-8BE8-4EBF0C3EB1D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36" name="Picture Placeholder 2">
            <a:extLst>
              <a:ext uri="{FF2B5EF4-FFF2-40B4-BE49-F238E27FC236}">
                <a16:creationId xmlns:a16="http://schemas.microsoft.com/office/drawing/2014/main" id="{DA7AA60F-F6CE-4BC8-873C-C1D91366F734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/>
          <a:srcRect l="13548" r="13548"/>
          <a:stretch>
            <a:fillRect/>
          </a:stretch>
        </p:blipFill>
        <p:spPr/>
      </p:pic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28D5A19F-1F20-4532-8D80-AB50D1049D9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br>
              <a:rPr lang="en-US" dirty="0"/>
            </a:b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6D7A8DCB-780E-4FDB-940C-DB8A4A3C31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DC5203A9-B4F2-4B3B-8B7D-0C5B51C285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lvl="1"/>
            <a:r>
              <a:rPr lang="en-US" dirty="0"/>
              <a:t>Initial clinical situ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746E044-8327-4725-948F-CAC2524EB18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3AD13A2-3B84-4AF8-BEE6-A996D967896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5468A7-077E-476C-A0EF-A8AA727A8F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  <a:p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E09FAD-4E86-4482-9133-CE29F38F6BE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376778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2AD5D2-E76F-4805-98FA-2D980715EDF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D10E97-B196-4225-9E08-3A84B480D7C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5D2E36-C3C9-486B-85C1-052FFB3436A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30" name="Picture Placeholder 2">
            <a:extLst>
              <a:ext uri="{FF2B5EF4-FFF2-40B4-BE49-F238E27FC236}">
                <a16:creationId xmlns:a16="http://schemas.microsoft.com/office/drawing/2014/main" id="{D297B9E1-F594-4E44-9E32-9D2B6874C58B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/>
          <a:srcRect l="26136" r="26136"/>
          <a:stretch>
            <a:fillRect/>
          </a:stretch>
        </p:blipFill>
        <p:spPr/>
      </p:pic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58AE7BD1-21C6-4BDA-99F6-D97A1F5A8F1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8DFD57DB-1871-4642-8A6E-15E91317142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1" name="Picture Placeholder 2">
            <a:extLst>
              <a:ext uri="{FF2B5EF4-FFF2-40B4-BE49-F238E27FC236}">
                <a16:creationId xmlns:a16="http://schemas.microsoft.com/office/drawing/2014/main" id="{015ACB52-E368-49A1-B931-456A965D2E34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6136" r="26136"/>
          <a:stretch>
            <a:fillRect/>
          </a:stretch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DB692EC-F6B7-4A0B-BEB5-AB13ECA0830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1C927E-630C-4F9F-884F-EC4FF8695D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nitial clinical situ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89CB48D-B334-482E-A338-B73086BA3F8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CB9EEEB-37C3-4BA3-9291-DE371E3AD57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71B4A7-F04C-467D-8A20-C568286C285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94F6B1-385F-4D51-B71A-11947E4731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59BE6289-2372-4705-8F2B-4B37B287F29F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7885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D10E97-B196-4225-9E08-3A84B480D7C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5D2E36-C3C9-486B-85C1-052FFB3436A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28" name="Picture Placeholder 71">
            <a:extLst>
              <a:ext uri="{FF2B5EF4-FFF2-40B4-BE49-F238E27FC236}">
                <a16:creationId xmlns:a16="http://schemas.microsoft.com/office/drawing/2014/main" id="{4F1500F7-D7FE-4DAF-B0A7-4035C450AD81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 rotWithShape="1">
          <a:blip r:embed="rId3"/>
          <a:srcRect l="-24352" r="-24352"/>
          <a:stretch/>
        </p:blipFill>
        <p:spPr>
          <a:solidFill>
            <a:srgbClr val="676A6C"/>
          </a:solidFill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1C927E-630C-4F9F-884F-EC4FF8695D2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nitial clinical situ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8CD9CF6-C75C-49A8-82CF-3638C4107CD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C452389-4094-44E2-A356-7103DE680CC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71B4A7-F04C-467D-8A20-C568286C285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  <a:p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94F6B1-385F-4D51-B71A-11947E4731E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92AD5D2-E76F-4805-98FA-2D980715EDF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06DE68F-2C57-4560-98F8-9DE593BE972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70351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1C927E-630C-4F9F-884F-EC4FF8695D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D10E97-B196-4225-9E08-3A84B480D7C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5D2E36-C3C9-486B-85C1-052FFB3436A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7" name="Picture Placeholder 5">
            <a:extLst>
              <a:ext uri="{FF2B5EF4-FFF2-40B4-BE49-F238E27FC236}">
                <a16:creationId xmlns:a16="http://schemas.microsoft.com/office/drawing/2014/main" id="{F78CCBAF-024C-474A-8715-9422615CFF0D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/>
          <a:srcRect l="26136" r="26136"/>
          <a:stretch>
            <a:fillRect/>
          </a:stretch>
        </p:blipFill>
        <p:spPr/>
      </p:pic>
      <p:pic>
        <p:nvPicPr>
          <p:cNvPr id="29" name="Picture Placeholder 5">
            <a:extLst>
              <a:ext uri="{FF2B5EF4-FFF2-40B4-BE49-F238E27FC236}">
                <a16:creationId xmlns:a16="http://schemas.microsoft.com/office/drawing/2014/main" id="{53B50555-28C6-4092-B8CD-5C0572DCD5D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25997" r="25997"/>
          <a:stretch>
            <a:fillRect/>
          </a:stretch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16964A7-9783-45AC-AD82-FAA0F5BC577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8" name="Picture Placeholder 5">
            <a:extLst>
              <a:ext uri="{FF2B5EF4-FFF2-40B4-BE49-F238E27FC236}">
                <a16:creationId xmlns:a16="http://schemas.microsoft.com/office/drawing/2014/main" id="{5E870B26-5675-4FCE-A605-D91DA859C32C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6136" r="26136"/>
          <a:stretch>
            <a:fillRect/>
          </a:stretch>
        </p:blipFill>
        <p:spPr/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F00AF6B-C874-4D8B-91F4-9AB5EB502DD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94F6B1-385F-4D51-B71A-11947E4731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nitial clinical situa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2AAA3A-FAAE-45BF-B567-7FB1ADAF6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FF37A9-D345-47E3-A3ED-5A643C26CD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C452389-4094-44E2-A356-7103DE680C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71B4A7-F04C-467D-8A20-C568286C28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AFCF17D8-05BA-4DF2-9826-EBBD71E7810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076125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C41E284-4058-4C93-AC0E-6F57C90DFE8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573F8E-9D64-42AB-8783-F1B51599204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8784F7-E5A2-40BF-A3C5-E7F2B29A9ACE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1F31CDC3-860D-4EEA-BA3C-5AB1573C1EE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  <a:p>
            <a:endParaRPr lang="en-US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CC4D1E5-BE10-4650-90B0-0E5772A69A2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nitial clinical situation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87065FD-15F2-4FBE-AA37-E3B1381E791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FBFD1BF4-D7EB-49BE-8AAC-F7F49CB6FCD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F8D6BEA-D2A8-4391-A38A-D922AEE845D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A5D59F1-6FA7-42E6-92CE-DB837C81E9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  <a:p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4FB3FDDB-FD73-400E-8CDE-9126BA49ABE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7" name="Picture Placeholder 5">
            <a:extLst>
              <a:ext uri="{FF2B5EF4-FFF2-40B4-BE49-F238E27FC236}">
                <a16:creationId xmlns:a16="http://schemas.microsoft.com/office/drawing/2014/main" id="{7F985999-FE53-43C0-B4C8-7B9B436D918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12837" r="12837"/>
          <a:stretch>
            <a:fillRect/>
          </a:stretch>
        </p:blipFill>
        <p:spPr>
          <a:xfrm>
            <a:off x="609600" y="1828800"/>
            <a:ext cx="2606675" cy="1838325"/>
          </a:xfrm>
        </p:spPr>
      </p:pic>
      <p:pic>
        <p:nvPicPr>
          <p:cNvPr id="28" name="Picture Placeholder 5">
            <a:extLst>
              <a:ext uri="{FF2B5EF4-FFF2-40B4-BE49-F238E27FC236}">
                <a16:creationId xmlns:a16="http://schemas.microsoft.com/office/drawing/2014/main" id="{1AF82001-EFCE-4732-A5C5-0746D876AECB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12805" r="12805"/>
          <a:stretch>
            <a:fillRect/>
          </a:stretch>
        </p:blipFill>
        <p:spPr>
          <a:xfrm>
            <a:off x="609600" y="3859213"/>
            <a:ext cx="2606675" cy="1836737"/>
          </a:xfrm>
        </p:spPr>
      </p:pic>
      <p:pic>
        <p:nvPicPr>
          <p:cNvPr id="29" name="Picture Placeholder 5">
            <a:extLst>
              <a:ext uri="{FF2B5EF4-FFF2-40B4-BE49-F238E27FC236}">
                <a16:creationId xmlns:a16="http://schemas.microsoft.com/office/drawing/2014/main" id="{5C97E73A-BCED-4BE9-9757-C2BD9487C62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/>
          <a:srcRect t="4925" b="4925"/>
          <a:stretch>
            <a:fillRect/>
          </a:stretch>
        </p:blipFill>
        <p:spPr>
          <a:xfrm>
            <a:off x="3398838" y="1828800"/>
            <a:ext cx="8183562" cy="3867150"/>
          </a:xfrm>
        </p:spPr>
      </p:pic>
    </p:spTree>
    <p:extLst>
      <p:ext uri="{BB962C8B-B14F-4D97-AF65-F5344CB8AC3E}">
        <p14:creationId xmlns:p14="http://schemas.microsoft.com/office/powerpoint/2010/main" val="3428691357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D1C927E-630C-4F9F-884F-EC4FF8695D2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Aenean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 dol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AD10E97-B196-4225-9E08-3A84B480D7C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/>
              <a:t>Case courtesy of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D5D2E36-C3C9-486B-85C1-052FFB3436A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8BAED25-F67B-4389-AF81-088E5999745F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0" name="Picture Placeholder 5">
            <a:extLst>
              <a:ext uri="{FF2B5EF4-FFF2-40B4-BE49-F238E27FC236}">
                <a16:creationId xmlns:a16="http://schemas.microsoft.com/office/drawing/2014/main" id="{DCF953F6-F34B-424D-95E3-7718B33284C5}"/>
              </a:ext>
            </a:extLst>
          </p:cNvPr>
          <p:cNvPicPr>
            <a:picLocks noGrp="1" noChangeAspect="1"/>
          </p:cNvPicPr>
          <p:nvPr>
            <p:ph type="pic" sz="quarter" idx="29"/>
          </p:nvPr>
        </p:nvPicPr>
        <p:blipFill>
          <a:blip r:embed="rId3"/>
          <a:srcRect l="26136" r="26136"/>
          <a:stretch>
            <a:fillRect/>
          </a:stretch>
        </p:blipFill>
        <p:spPr/>
      </p:pic>
      <p:pic>
        <p:nvPicPr>
          <p:cNvPr id="32" name="Picture Placeholder 5">
            <a:extLst>
              <a:ext uri="{FF2B5EF4-FFF2-40B4-BE49-F238E27FC236}">
                <a16:creationId xmlns:a16="http://schemas.microsoft.com/office/drawing/2014/main" id="{B1958ECC-2BFE-493A-9BD9-E2822E1968A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3"/>
          <a:srcRect l="25997" r="25997"/>
          <a:stretch>
            <a:fillRect/>
          </a:stretch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C9CD099-C0D8-4984-A907-B42CAD80393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1" name="Picture Placeholder 5">
            <a:extLst>
              <a:ext uri="{FF2B5EF4-FFF2-40B4-BE49-F238E27FC236}">
                <a16:creationId xmlns:a16="http://schemas.microsoft.com/office/drawing/2014/main" id="{29B6BEE6-209B-477B-B593-EB69BA616A05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>
          <a:blip r:embed="rId3"/>
          <a:srcRect l="26136" r="26136"/>
          <a:stretch>
            <a:fillRect/>
          </a:stretch>
        </p:blipFill>
        <p:spPr/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FCFA96B-3448-4D44-8B96-052C01CEBC6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94F6B1-385F-4D51-B71A-11947E4731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Initial clinical situation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2AAA3A-FAAE-45BF-B567-7FB1ADAF6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 dirty="0"/>
              <a:t>Outcome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FF37A9-D345-47E3-A3ED-5A643C26CD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Restorative procedure</a:t>
            </a:r>
          </a:p>
          <a:p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C452389-4094-44E2-A356-7103DE680C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Surgical </a:t>
            </a:r>
            <a:br>
              <a:rPr lang="en-US" dirty="0"/>
            </a:br>
            <a:r>
              <a:rPr lang="en-US" dirty="0"/>
              <a:t>procedure</a:t>
            </a:r>
          </a:p>
          <a:p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71B4A7-F04C-467D-8A20-C568286C28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Treatment </a:t>
            </a:r>
            <a:br>
              <a:rPr lang="en-US" dirty="0"/>
            </a:br>
            <a:r>
              <a:rPr lang="en-US" dirty="0"/>
              <a:t>planning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D48D13E-9DD7-4842-B340-CE2BB4C99B5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239837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F9403F5-FC4E-48FA-B16F-F1595322662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Case courtesy of Dr. Firstname Lastname</a:t>
            </a:r>
          </a:p>
        </p:txBody>
      </p:sp>
    </p:spTree>
    <p:extLst>
      <p:ext uri="{BB962C8B-B14F-4D97-AF65-F5344CB8AC3E}">
        <p14:creationId xmlns:p14="http://schemas.microsoft.com/office/powerpoint/2010/main" val="26655855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heme/theme1.xml><?xml version="1.0" encoding="utf-8"?>
<a:theme xmlns:a="http://schemas.openxmlformats.org/drawingml/2006/main" name="NB 16:9 Template - Clinical Case">
  <a:themeElements>
    <a:clrScheme name="NBS 2019">
      <a:dk1>
        <a:sysClr val="windowText" lastClr="000000"/>
      </a:dk1>
      <a:lt1>
        <a:sysClr val="window" lastClr="FFFFFF"/>
      </a:lt1>
      <a:dk2>
        <a:srgbClr val="30302F"/>
      </a:dk2>
      <a:lt2>
        <a:srgbClr val="D1D3D4"/>
      </a:lt2>
      <a:accent1>
        <a:srgbClr val="CC0000"/>
      </a:accent1>
      <a:accent2>
        <a:srgbClr val="B1B3B3"/>
      </a:accent2>
      <a:accent3>
        <a:srgbClr val="8A8D8F"/>
      </a:accent3>
      <a:accent4>
        <a:srgbClr val="001A72"/>
      </a:accent4>
      <a:accent5>
        <a:srgbClr val="30302F"/>
      </a:accent5>
      <a:accent6>
        <a:srgbClr val="470A68"/>
      </a:accent6>
      <a:hlink>
        <a:srgbClr val="CC0000"/>
      </a:hlink>
      <a:folHlink>
        <a:srgbClr val="3F3F3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2.xml><?xml version="1.0" encoding="utf-8"?>
<a:theme xmlns:a="http://schemas.openxmlformats.org/drawingml/2006/main" name="Office">
  <a:themeElements>
    <a:clrScheme name="NBS 2019">
      <a:dk1>
        <a:sysClr val="windowText" lastClr="000000"/>
      </a:dk1>
      <a:lt1>
        <a:sysClr val="window" lastClr="FFFFFF"/>
      </a:lt1>
      <a:dk2>
        <a:srgbClr val="30302F"/>
      </a:dk2>
      <a:lt2>
        <a:srgbClr val="D1D3D4"/>
      </a:lt2>
      <a:accent1>
        <a:srgbClr val="CC0000"/>
      </a:accent1>
      <a:accent2>
        <a:srgbClr val="B1B3B3"/>
      </a:accent2>
      <a:accent3>
        <a:srgbClr val="A5A5A5"/>
      </a:accent3>
      <a:accent4>
        <a:srgbClr val="D1D3D4"/>
      </a:accent4>
      <a:accent5>
        <a:srgbClr val="30302F"/>
      </a:accent5>
      <a:accent6>
        <a:srgbClr val="CC0000"/>
      </a:accent6>
      <a:hlink>
        <a:srgbClr val="CC0000"/>
      </a:hlink>
      <a:folHlink>
        <a:srgbClr val="3F3F3F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2198">
      <a:srgbClr val="4AC9E3"/>
    </a:custClr>
    <a:custClr name="PMS 3375">
      <a:srgbClr val="7AE1BF"/>
    </a:custClr>
    <a:custClr name="PMS 2005">
      <a:srgbClr val="FED880"/>
    </a:custClr>
    <a:custClr name="PMS 170">
      <a:srgbClr val="FF8674"/>
    </a:custClr>
    <a:custClr name="PMS 1785">
      <a:srgbClr val="F8485E"/>
    </a:custClr>
    <a:custClr name="PMS 255">
      <a:srgbClr val="72246C"/>
    </a:custClr>
    <a:custClr name="PMS 2617">
      <a:srgbClr val="470A68"/>
    </a:custClr>
    <a:custClr name="PMS 2747">
      <a:srgbClr val="001A72"/>
    </a:custClr>
    <a:custClr name="PMS 0">
      <a:srgbClr val="FFFFFF"/>
    </a:custClr>
    <a:custClr name="PMS 0">
      <a:srgbClr val="FFFFFF"/>
    </a:custClr>
    <a:custClr name="PMS 318">
      <a:srgbClr val="88DBDF"/>
    </a:custClr>
    <a:custClr name="PMS 573">
      <a:srgbClr val="B5E3D8"/>
    </a:custClr>
    <a:custClr name="PMS 7401">
      <a:srgbClr val="F5E1A4"/>
    </a:custClr>
    <a:custClr name="PMS 1625">
      <a:srgbClr val="FFA38B"/>
    </a:custClr>
    <a:custClr name="PMS 3572">
      <a:srgbClr val="FE9B96"/>
    </a:custClr>
    <a:custClr name="PMS 2064">
      <a:srgbClr val="E0A2D4"/>
    </a:custClr>
    <a:custClr name="PMS 270">
      <a:srgbClr val="B4B5DF"/>
    </a:custClr>
    <a:custClr name="PMS 658">
      <a:srgbClr val="B1C9E8"/>
    </a:custClr>
    <a:custClr name="PMS 0">
      <a:srgbClr val="FFFFFF"/>
    </a:custClr>
    <a:custClr name="PMS 0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B73B5B3432804CA73362F9E356E790" ma:contentTypeVersion="16" ma:contentTypeDescription="Create a new document." ma:contentTypeScope="" ma:versionID="96aee7b6535fae9a77a6382842a0d8f0">
  <xsd:schema xmlns:xsd="http://www.w3.org/2001/XMLSchema" xmlns:xs="http://www.w3.org/2001/XMLSchema" xmlns:p="http://schemas.microsoft.com/office/2006/metadata/properties" xmlns:ns2="285a9ebc-64ad-4929-91a4-c093b8635823" xmlns:ns3="6a4cc932-aabf-4092-8cfa-1748fb903e24" targetNamespace="http://schemas.microsoft.com/office/2006/metadata/properties" ma:root="true" ma:fieldsID="d05561eadfe80b6e8a19a3209174b4a8" ns2:_="" ns3:_="">
    <xsd:import namespace="285a9ebc-64ad-4929-91a4-c093b8635823"/>
    <xsd:import namespace="6a4cc932-aabf-4092-8cfa-1748fb903e2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5a9ebc-64ad-4929-91a4-c093b863582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1d47f98-939b-4431-b793-419ec2aa7a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4cc932-aabf-4092-8cfa-1748fb903e2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cf4123d-96a7-4191-9a3c-98e11b661f39}" ma:internalName="TaxCatchAll" ma:showField="CatchAllData" ma:web="6a4cc932-aabf-4092-8cfa-1748fb903e2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09C482-67BA-47F5-BE60-FBA7EEFA36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5a9ebc-64ad-4929-91a4-c093b8635823"/>
    <ds:schemaRef ds:uri="6a4cc932-aabf-4092-8cfa-1748fb903e2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F7B32F1-D736-4DD1-847C-A8526CE51AD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BS_PowerPoint_Template_16-9_18102_2</Template>
  <TotalTime>2</TotalTime>
  <Words>552</Words>
  <Application>Microsoft Office PowerPoint</Application>
  <PresentationFormat>Widescreen</PresentationFormat>
  <Paragraphs>101</Paragraphs>
  <Slides>9</Slides>
  <Notes>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2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3" baseType="lpstr">
      <vt:lpstr>Arial</vt:lpstr>
      <vt:lpstr>Symbol</vt:lpstr>
      <vt:lpstr>NB 16:9 Template - Clinical Case</vt:lpstr>
      <vt:lpstr>think-cell Slide</vt:lpstr>
      <vt:lpstr>Headlin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ja Schäffer</dc:creator>
  <cp:lastModifiedBy>Bovoli, Laura</cp:lastModifiedBy>
  <cp:revision>600</cp:revision>
  <dcterms:created xsi:type="dcterms:W3CDTF">2018-10-26T08:26:03Z</dcterms:created>
  <dcterms:modified xsi:type="dcterms:W3CDTF">2023-05-04T11:01:18Z</dcterms:modified>
</cp:coreProperties>
</file>